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9.xml" ContentType="application/vnd.openxmlformats-officedocument.presentationml.tags+xml"/>
  <Override PartName="/ppt/notesSlides/notesSlide7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5.xml" ContentType="application/vnd.openxmlformats-officedocument.presentationml.notesSlide+xml"/>
  <Override PartName="/ppt/tags/tag59.xml" ContentType="application/vnd.openxmlformats-officedocument.presentationml.tags+xml"/>
  <Override PartName="/ppt/notesSlides/notesSlide106.xml" ContentType="application/vnd.openxmlformats-officedocument.presentationml.notesSlide+xml"/>
  <Override PartName="/ppt/tags/tag60.xml" ContentType="application/vnd.openxmlformats-officedocument.presentationml.tags+xml"/>
  <Override PartName="/ppt/notesSlides/notesSlide10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8.xml" ContentType="application/vnd.openxmlformats-officedocument.presentationml.notesSlide+xml"/>
  <Override PartName="/ppt/tags/tag69.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3"/>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843" r:id="rId89"/>
    <p:sldId id="817" r:id="rId90"/>
    <p:sldId id="822" r:id="rId91"/>
    <p:sldId id="820" r:id="rId92"/>
    <p:sldId id="818" r:id="rId93"/>
    <p:sldId id="821" r:id="rId94"/>
    <p:sldId id="735" r:id="rId95"/>
    <p:sldId id="830" r:id="rId96"/>
    <p:sldId id="1006" r:id="rId97"/>
    <p:sldId id="763" r:id="rId98"/>
    <p:sldId id="1007" r:id="rId99"/>
    <p:sldId id="959" r:id="rId100"/>
    <p:sldId id="738" r:id="rId101"/>
    <p:sldId id="739" r:id="rId102"/>
    <p:sldId id="740" r:id="rId103"/>
    <p:sldId id="741" r:id="rId104"/>
    <p:sldId id="842" r:id="rId105"/>
    <p:sldId id="685" r:id="rId106"/>
    <p:sldId id="823" r:id="rId107"/>
    <p:sldId id="824" r:id="rId108"/>
    <p:sldId id="667" r:id="rId109"/>
    <p:sldId id="664" r:id="rId110"/>
    <p:sldId id="665" r:id="rId111"/>
    <p:sldId id="668" r:id="rId112"/>
    <p:sldId id="825" r:id="rId113"/>
    <p:sldId id="826" r:id="rId114"/>
    <p:sldId id="827" r:id="rId115"/>
    <p:sldId id="619" r:id="rId116"/>
    <p:sldId id="929" r:id="rId117"/>
    <p:sldId id="867" r:id="rId118"/>
    <p:sldId id="868" r:id="rId119"/>
    <p:sldId id="869" r:id="rId120"/>
    <p:sldId id="870" r:id="rId121"/>
    <p:sldId id="876" r:id="rId122"/>
    <p:sldId id="877" r:id="rId123"/>
    <p:sldId id="878" r:id="rId124"/>
    <p:sldId id="879" r:id="rId125"/>
    <p:sldId id="880" r:id="rId126"/>
    <p:sldId id="886" r:id="rId127"/>
    <p:sldId id="891" r:id="rId128"/>
    <p:sldId id="892" r:id="rId129"/>
    <p:sldId id="896" r:id="rId130"/>
    <p:sldId id="898" r:id="rId131"/>
    <p:sldId id="901" r:id="rId132"/>
    <p:sldId id="928" r:id="rId133"/>
    <p:sldId id="905" r:id="rId134"/>
    <p:sldId id="906" r:id="rId135"/>
    <p:sldId id="907" r:id="rId136"/>
    <p:sldId id="909" r:id="rId137"/>
    <p:sldId id="910" r:id="rId138"/>
    <p:sldId id="911" r:id="rId139"/>
    <p:sldId id="912" r:id="rId140"/>
    <p:sldId id="913" r:id="rId141"/>
    <p:sldId id="914" r:id="rId142"/>
    <p:sldId id="915" r:id="rId143"/>
    <p:sldId id="916" r:id="rId144"/>
    <p:sldId id="917" r:id="rId145"/>
    <p:sldId id="918" r:id="rId146"/>
    <p:sldId id="919" r:id="rId147"/>
    <p:sldId id="920" r:id="rId148"/>
    <p:sldId id="921" r:id="rId149"/>
    <p:sldId id="922" r:id="rId150"/>
    <p:sldId id="923" r:id="rId151"/>
    <p:sldId id="924" r:id="rId152"/>
    <p:sldId id="925" r:id="rId153"/>
    <p:sldId id="926" r:id="rId154"/>
    <p:sldId id="927" r:id="rId155"/>
    <p:sldId id="931" r:id="rId156"/>
    <p:sldId id="936" r:id="rId157"/>
    <p:sldId id="937" r:id="rId158"/>
    <p:sldId id="938" r:id="rId159"/>
    <p:sldId id="939" r:id="rId160"/>
    <p:sldId id="940" r:id="rId161"/>
    <p:sldId id="941" r:id="rId162"/>
    <p:sldId id="942" r:id="rId163"/>
    <p:sldId id="947" r:id="rId164"/>
    <p:sldId id="952" r:id="rId165"/>
    <p:sldId id="953" r:id="rId166"/>
    <p:sldId id="954" r:id="rId167"/>
    <p:sldId id="955" r:id="rId168"/>
    <p:sldId id="956" r:id="rId169"/>
    <p:sldId id="957" r:id="rId170"/>
    <p:sldId id="958" r:id="rId171"/>
    <p:sldId id="961" r:id="rId172"/>
    <p:sldId id="965" r:id="rId173"/>
    <p:sldId id="969" r:id="rId174"/>
    <p:sldId id="970" r:id="rId175"/>
    <p:sldId id="971" r:id="rId176"/>
    <p:sldId id="972" r:id="rId177"/>
    <p:sldId id="973" r:id="rId178"/>
    <p:sldId id="974" r:id="rId179"/>
    <p:sldId id="976" r:id="rId180"/>
    <p:sldId id="980" r:id="rId181"/>
    <p:sldId id="981" r:id="rId182"/>
    <p:sldId id="988" r:id="rId183"/>
    <p:sldId id="989" r:id="rId184"/>
    <p:sldId id="990" r:id="rId185"/>
    <p:sldId id="991" r:id="rId186"/>
    <p:sldId id="992" r:id="rId187"/>
    <p:sldId id="993" r:id="rId188"/>
    <p:sldId id="994" r:id="rId189"/>
    <p:sldId id="995" r:id="rId190"/>
    <p:sldId id="996" r:id="rId191"/>
    <p:sldId id="997" r:id="rId192"/>
    <p:sldId id="998" r:id="rId193"/>
    <p:sldId id="999" r:id="rId194"/>
    <p:sldId id="1000" r:id="rId195"/>
    <p:sldId id="1001" r:id="rId196"/>
    <p:sldId id="337" r:id="rId197"/>
    <p:sldId id="496" r:id="rId198"/>
    <p:sldId id="492" r:id="rId199"/>
    <p:sldId id="495" r:id="rId200"/>
    <p:sldId id="573" r:id="rId201"/>
    <p:sldId id="574" r:id="rId20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99" autoAdjust="0"/>
    <p:restoredTop sz="83582" autoAdjust="0"/>
  </p:normalViewPr>
  <p:slideViewPr>
    <p:cSldViewPr snapToGrid="0">
      <p:cViewPr varScale="1">
        <p:scale>
          <a:sx n="69" d="100"/>
          <a:sy n="69" d="100"/>
        </p:scale>
        <p:origin x="44" y="308"/>
      </p:cViewPr>
      <p:guideLst/>
    </p:cSldViewPr>
  </p:slideViewPr>
  <p:outlineViewPr>
    <p:cViewPr>
      <p:scale>
        <a:sx n="33" d="100"/>
        <a:sy n="33" d="100"/>
      </p:scale>
      <p:origin x="0" y="-62568"/>
    </p:cViewPr>
  </p:outlineViewPr>
  <p:notesTextViewPr>
    <p:cViewPr>
      <p:scale>
        <a:sx n="3" d="2"/>
        <a:sy n="3" d="2"/>
      </p:scale>
      <p:origin x="0" y="0"/>
    </p:cViewPr>
  </p:notesTextViewPr>
  <p:sorterViewPr>
    <p:cViewPr>
      <p:scale>
        <a:sx n="50" d="100"/>
        <a:sy n="50" d="100"/>
      </p:scale>
      <p:origin x="0" y="-184"/>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presProps" Target="presProp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viewProps" Target="view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theme" Target="theme/theme1.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notesMaster" Target="notesMasters/notesMaster1.xml"/><Relationship Id="rId208"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190" Type="http://schemas.openxmlformats.org/officeDocument/2006/relationships/slide" Target="slides/slide180.xml"/><Relationship Id="rId204" Type="http://schemas.openxmlformats.org/officeDocument/2006/relationships/commentAuthors" Target="commentAuthors.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4A7FD812-4B1C-477B-8365-64A708C244D4}" type="presOf" srcId="{FAB1662F-7421-4F7B-A5C0-57390BFE5777}" destId="{2AFE754E-A9BE-43F0-99CC-FD0E25860E0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8361FE1E-DF58-4941-ACBB-520DBC2DEE61}" type="presOf" srcId="{74B70E5F-85FA-42B8-A7FE-FD42B697C579}" destId="{AD9EF522-A474-43A3-8895-E1B5C946DABC}" srcOrd="0" destOrd="0" presId="urn:microsoft.com/office/officeart/2005/8/layout/default"/>
    <dgm:cxn modelId="{AFFBCD66-ED28-45A9-ACE2-6287042071F5}" type="presOf" srcId="{F2103179-96ED-4A7F-B05C-6921D6031C09}" destId="{B2BFB56C-67A7-452B-802F-5F7E827C13F9}"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B1F9AE19-CD92-48E9-B550-CE5230D9FF5A}" type="presOf" srcId="{749654BA-097A-4093-B81D-F0D7C8F45CDF}" destId="{D38C2A64-A10E-4419-8CC2-7C9DBC741F60}"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F76F481-F614-4438-927A-387806E5328F}" type="presOf" srcId="{F5192B22-188D-4905-865D-FB0F06FA51E5}" destId="{F626D2C1-E362-4EE4-A84D-3ECF9A9E587C}" srcOrd="0" destOrd="0" presId="urn:microsoft.com/office/officeart/2005/8/layout/default"/>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4DBFB9E1-A8C4-471F-87A0-886A258964DC}" type="presOf" srcId="{B305BEE9-96E7-4D38-B9B2-E40B0F514BFD}" destId="{D103E3C0-707E-4981-B759-BBF58D011072}"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DB93BD1-474B-4E5D-A828-47643DC39C97}" type="presOf" srcId="{F5192B22-188D-4905-865D-FB0F06FA51E5}" destId="{F626D2C1-E362-4EE4-A84D-3ECF9A9E587C}" srcOrd="0" destOrd="0" presId="urn:microsoft.com/office/officeart/2005/8/layout/default"/>
    <dgm:cxn modelId="{27E8434F-1C78-4F5D-B098-6306C8F5CEBF}" type="presOf" srcId="{74B70E5F-85FA-42B8-A7FE-FD42B697C579}" destId="{AD9EF522-A474-43A3-8895-E1B5C946DABC}"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AFC29FCC-2C7D-4D7C-AD01-38D13F0511F5}"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8FF36685-6046-4F9D-8E79-356C3CF5BB23}" type="presOf" srcId="{B305BEE9-96E7-4D38-B9B2-E40B0F514BFD}" destId="{D103E3C0-707E-4981-B759-BBF58D011072}"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D01EB9B4-C898-47BD-81F4-F25FBBEDA5BF}"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b="1" dirty="0" smtClean="0"/>
              <a:t>Services</a:t>
            </a:r>
            <a:r>
              <a:rPr lang="en-US" dirty="0" smtClean="0"/>
              <a:t> </a:t>
            </a:r>
            <a:r>
              <a:rPr lang="en-US" dirty="0" smtClean="0"/>
              <a:t>-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r>
              <a:rPr lang="en-US" dirty="0" smtClean="0"/>
              <a:t>.</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0</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1</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2</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3</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4</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5</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5</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b="1" dirty="0" smtClean="0"/>
              <a:t>Platform</a:t>
            </a:r>
            <a:r>
              <a:rPr lang="en-US" dirty="0" smtClean="0"/>
              <a:t> </a:t>
            </a:r>
            <a:r>
              <a:rPr lang="en-US" dirty="0" smtClean="0"/>
              <a:t>-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12: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8</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9</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1</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r>
              <a:rPr lang="en-US" baseline="0" dirty="0" smtClean="0">
                <a:effectLst/>
                <a:latin typeface="Segoe UI" panose="020B0502040204020203" pitchFamily="34" charset="0"/>
              </a:rPr>
              <a:t>.</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1</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7</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5</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7</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7</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7</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2</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3</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8</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5</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Client</a:t>
            </a:r>
            <a:r>
              <a:rPr lang="en-US" baseline="0" dirty="0" smtClean="0"/>
              <a:t> </a:t>
            </a:r>
            <a:r>
              <a:rPr lang="en-US" baseline="0" dirty="0" smtClean="0"/>
              <a:t>-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r>
              <a:rPr lang="en-US" dirty="0" smtClean="0"/>
              <a:t>.</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6</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7</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49</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2</a:t>
            </a:fld>
            <a:endParaRPr lang="en-US"/>
          </a:p>
        </p:txBody>
      </p:sp>
    </p:spTree>
    <p:extLst>
      <p:ext uri="{BB962C8B-B14F-4D97-AF65-F5344CB8AC3E}">
        <p14:creationId xmlns:p14="http://schemas.microsoft.com/office/powerpoint/2010/main" val="31967575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3</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5</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6</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13/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18"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42"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66"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90"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14"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38"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13/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3/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94"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1.xml"/><Relationship Id="rId4" Type="http://schemas.openxmlformats.org/officeDocument/2006/relationships/slideLayout" Target="../slideLayouts/slideLayout21.xml"/></Relationships>
</file>

<file path=ppt/slides/_rels/slide10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4.bin"/><Relationship Id="rId5" Type="http://schemas.openxmlformats.org/officeDocument/2006/relationships/notesSlide" Target="../notesSlides/notesSlide72.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3.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0.xml"/><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1.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9.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5.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6.xml"/><Relationship Id="rId1" Type="http://schemas.openxmlformats.org/officeDocument/2006/relationships/slideLayout" Target="../slideLayouts/slideLayout2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xml"/></Relationships>
</file>

<file path=ppt/slides/_rels/slide127.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0.xml"/><Relationship Id="rId1" Type="http://schemas.openxmlformats.org/officeDocument/2006/relationships/slideLayout" Target="../slideLayouts/slideLayout13.xml"/></Relationships>
</file>

<file path=ppt/slides/_rels/slide14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1.xml"/><Relationship Id="rId1" Type="http://schemas.openxmlformats.org/officeDocument/2006/relationships/slideLayout" Target="../slideLayouts/slideLayout26.xml"/></Relationships>
</file>

<file path=ppt/slides/_rels/slide1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3.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4.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5.xml"/><Relationship Id="rId1" Type="http://schemas.openxmlformats.org/officeDocument/2006/relationships/slideLayout" Target="../slideLayouts/slideLayout25.xml"/></Relationships>
</file>

<file path=ppt/slides/_rels/slide15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6.xml"/><Relationship Id="rId1" Type="http://schemas.openxmlformats.org/officeDocument/2006/relationships/slideLayout" Target="../slideLayouts/slideLayout21.xml"/></Relationships>
</file>

<file path=ppt/slides/_rels/slide1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7.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8.xml"/><Relationship Id="rId1" Type="http://schemas.openxmlformats.org/officeDocument/2006/relationships/slideLayout" Target="../slideLayouts/slideLayout61.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0.xml"/><Relationship Id="rId1" Type="http://schemas.openxmlformats.org/officeDocument/2006/relationships/slideLayout" Target="../slideLayouts/slideLayout21.xml"/></Relationships>
</file>

<file path=ppt/slides/_rels/slide17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1.xml"/><Relationship Id="rId4" Type="http://schemas.openxmlformats.org/officeDocument/2006/relationships/slideLayout" Target="../slideLayouts/slideLayout4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1.xml"/></Relationships>
</file>

<file path=ppt/slides/_rels/slide175.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5.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5.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08.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09.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3.xml"/></Relationships>
</file>

<file path=ppt/slides/_rels/slide18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3.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4.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package" Target="../embeddings/Microsoft_Visio_Drawing1.vsdx"/></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5" Type="http://schemas.openxmlformats.org/officeDocument/2006/relationships/image" Target="../media/image34.emf"/><Relationship Id="rId4" Type="http://schemas.openxmlformats.org/officeDocument/2006/relationships/package" Target="../embeddings/Microsoft_Visio_Drawing2.vsdx"/></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6.xml"/><Relationship Id="rId1" Type="http://schemas.openxmlformats.org/officeDocument/2006/relationships/slideLayout" Target="../slideLayouts/slideLayout21.xml"/></Relationships>
</file>

<file path=ppt/slides/_rels/slide9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7.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46.emf"/><Relationship Id="rId4" Type="http://schemas.openxmlformats.org/officeDocument/2006/relationships/notesSlide" Target="../notesSlides/notesSlide70.xml"/><Relationship Id="rId9"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 xmlns:a16="http://schemas.microsoft.com/office/drawing/2014/main" val="605670846"/>
                    </a:ext>
                  </a:extLst>
                </a:gridCol>
                <a:gridCol w="436880">
                  <a:extLst>
                    <a:ext uri="{9D8B030D-6E8A-4147-A177-3AD203B41FA5}">
                      <a16:colId xmlns="" xmlns:a16="http://schemas.microsoft.com/office/drawing/2014/main" val="2474575872"/>
                    </a:ext>
                  </a:extLst>
                </a:gridCol>
                <a:gridCol w="708343">
                  <a:extLst>
                    <a:ext uri="{9D8B030D-6E8A-4147-A177-3AD203B41FA5}">
                      <a16:colId xmlns="" xmlns:a16="http://schemas.microsoft.com/office/drawing/2014/main" val="3015633701"/>
                    </a:ext>
                  </a:extLst>
                </a:gridCol>
                <a:gridCol w="830580">
                  <a:extLst>
                    <a:ext uri="{9D8B030D-6E8A-4147-A177-3AD203B41FA5}">
                      <a16:colId xmlns="" xmlns:a16="http://schemas.microsoft.com/office/drawing/2014/main"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 xmlns:a16="http://schemas.microsoft.com/office/drawing/2014/main"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 xmlns:a16="http://schemas.microsoft.com/office/drawing/2014/main"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 xmlns:a16="http://schemas.microsoft.com/office/drawing/2014/main" val="1066098924"/>
                    </a:ext>
                  </a:extLst>
                </a:gridCol>
                <a:gridCol w="890905">
                  <a:extLst>
                    <a:ext uri="{9D8B030D-6E8A-4147-A177-3AD203B41FA5}">
                      <a16:colId xmlns="" xmlns:a16="http://schemas.microsoft.com/office/drawing/2014/main"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 xmlns:a16="http://schemas.microsoft.com/office/drawing/2014/main"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 xmlns:a16="http://schemas.microsoft.com/office/drawing/2014/main"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 xmlns:a16="http://schemas.microsoft.com/office/drawing/2014/main" val="2293575361"/>
                    </a:ext>
                  </a:extLst>
                </a:gridCol>
                <a:gridCol w="436880">
                  <a:extLst>
                    <a:ext uri="{9D8B030D-6E8A-4147-A177-3AD203B41FA5}">
                      <a16:colId xmlns="" xmlns:a16="http://schemas.microsoft.com/office/drawing/2014/main" val="3239324611"/>
                    </a:ext>
                  </a:extLst>
                </a:gridCol>
                <a:gridCol w="373380">
                  <a:extLst>
                    <a:ext uri="{9D8B030D-6E8A-4147-A177-3AD203B41FA5}">
                      <a16:colId xmlns="" xmlns:a16="http://schemas.microsoft.com/office/drawing/2014/main" val="2407542853"/>
                    </a:ext>
                  </a:extLst>
                </a:gridCol>
                <a:gridCol w="384493">
                  <a:extLst>
                    <a:ext uri="{9D8B030D-6E8A-4147-A177-3AD203B41FA5}">
                      <a16:colId xmlns="" xmlns:a16="http://schemas.microsoft.com/office/drawing/2014/main" val="1620385894"/>
                    </a:ext>
                  </a:extLst>
                </a:gridCol>
                <a:gridCol w="614274">
                  <a:extLst>
                    <a:ext uri="{9D8B030D-6E8A-4147-A177-3AD203B41FA5}">
                      <a16:colId xmlns="" xmlns:a16="http://schemas.microsoft.com/office/drawing/2014/main"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 xmlns:a16="http://schemas.microsoft.com/office/drawing/2014/main"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 xmlns:a16="http://schemas.microsoft.com/office/drawing/2014/main"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 xmlns:a16="http://schemas.microsoft.com/office/drawing/2014/main"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6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59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0</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07"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36" name="Visio" r:id="rId4" imgW="6267240" imgH="5715271" progId="Visio.Drawing.15">
                  <p:embed/>
                </p:oleObj>
              </mc:Choice>
              <mc:Fallback>
                <p:oleObj name="Visio" r:id="rId4" imgW="6267240" imgH="5715271" progId="Visio.Drawing.15">
                  <p:embed/>
                  <p:pic>
                    <p:nvPicPr>
                      <p:cNvPr id="0" name=""/>
                      <p:cNvPicPr/>
                      <p:nvPr/>
                    </p:nvPicPr>
                    <p:blipFill>
                      <a:blip r:embed="rId5"/>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35609"/>
          <a:stretch/>
        </p:blipFill>
        <p:spPr>
          <a:xfrm>
            <a:off x="307428" y="714254"/>
            <a:ext cx="7705749" cy="6025626"/>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927</TotalTime>
  <Words>16122</Words>
  <Application>Microsoft Office PowerPoint</Application>
  <PresentationFormat>Widescreen</PresentationFormat>
  <Paragraphs>2811</Paragraphs>
  <Slides>192</Slides>
  <Notes>115</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2</vt:i4>
      </vt:variant>
    </vt:vector>
  </HeadingPairs>
  <TitlesOfParts>
    <vt:vector size="217"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39</cp:revision>
  <cp:lastPrinted>2014-03-26T17:46:13Z</cp:lastPrinted>
  <dcterms:created xsi:type="dcterms:W3CDTF">2014-03-19T23:21:38Z</dcterms:created>
  <dcterms:modified xsi:type="dcterms:W3CDTF">2015-01-13T12: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